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392" r:id="rId2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58" d="100"/>
          <a:sy n="58" d="100"/>
        </p:scale>
        <p:origin x="98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ina Junttila" userId="d9e89081-e3c1-41da-bf7d-39c11aa07afe" providerId="ADAL" clId="{887AA5E7-C2FE-4851-92A4-B316404921D2}"/>
    <pc:docChg chg="custSel modSld">
      <pc:chgData name="Taina Junttila" userId="d9e89081-e3c1-41da-bf7d-39c11aa07afe" providerId="ADAL" clId="{887AA5E7-C2FE-4851-92A4-B316404921D2}" dt="2023-10-16T10:12:33.624" v="344" actId="20577"/>
      <pc:docMkLst>
        <pc:docMk/>
      </pc:docMkLst>
      <pc:sldChg chg="modSp mod">
        <pc:chgData name="Taina Junttila" userId="d9e89081-e3c1-41da-bf7d-39c11aa07afe" providerId="ADAL" clId="{887AA5E7-C2FE-4851-92A4-B316404921D2}" dt="2023-10-16T10:12:33.624" v="344" actId="20577"/>
        <pc:sldMkLst>
          <pc:docMk/>
          <pc:sldMk cId="2285915675" sldId="392"/>
        </pc:sldMkLst>
        <pc:spChg chg="mod">
          <ac:chgData name="Taina Junttila" userId="d9e89081-e3c1-41da-bf7d-39c11aa07afe" providerId="ADAL" clId="{887AA5E7-C2FE-4851-92A4-B316404921D2}" dt="2023-10-15T16:12:36.723" v="3" actId="27636"/>
          <ac:spMkLst>
            <pc:docMk/>
            <pc:sldMk cId="2285915675" sldId="392"/>
            <ac:spMk id="2" creationId="{59827701-2BDE-48F6-BDC0-D3D04ECD609C}"/>
          </ac:spMkLst>
        </pc:spChg>
        <pc:spChg chg="mod">
          <ac:chgData name="Taina Junttila" userId="d9e89081-e3c1-41da-bf7d-39c11aa07afe" providerId="ADAL" clId="{887AA5E7-C2FE-4851-92A4-B316404921D2}" dt="2023-10-16T10:12:33.624" v="344" actId="20577"/>
          <ac:spMkLst>
            <pc:docMk/>
            <pc:sldMk cId="2285915675" sldId="392"/>
            <ac:spMk id="3" creationId="{7D2B3E16-7A3C-4A12-8BD1-1EE6F1B1E928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3.jp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99541D-8348-98CF-8064-8566F4392B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971C720-C01B-E0D4-5DCA-8D1A572E78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B8B8AE-14A7-361A-E521-0B6E4799B4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451DD-65DC-401D-BB89-9024692CE7A2}" type="datetimeFigureOut">
              <a:rPr lang="fi-FI" smtClean="0"/>
              <a:t>16.10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9F52AF-3277-B9B2-C031-7CB100E2F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73F897-1951-788D-E88C-A3578B66F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3BFD9-93DB-44B9-9E39-59EA3454B87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194836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076F60-5D10-1E86-0890-AC14E7A5AC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F499EC5-4A2A-114E-EB7D-853BF10973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96FDF2-1BFC-9BD9-BD78-7D872FD479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451DD-65DC-401D-BB89-9024692CE7A2}" type="datetimeFigureOut">
              <a:rPr lang="fi-FI" smtClean="0"/>
              <a:t>16.10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D9FF8B-1C65-B911-1087-C82F9137EF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5DCC6E-68EA-DCF6-A1A8-AF77F8222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3BFD9-93DB-44B9-9E39-59EA3454B87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212454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A7ADB77-9FAE-418A-379B-C59AD1E0748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082EBB5-C4A9-A8A4-36BE-36189E57A0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A24964-714B-5C68-797B-C89D754471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451DD-65DC-401D-BB89-9024692CE7A2}" type="datetimeFigureOut">
              <a:rPr lang="fi-FI" smtClean="0"/>
              <a:t>16.10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6B2C71-B20C-B458-3BDD-47A36A046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AF32E-1446-BB7E-DFD9-85C6CE171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3BFD9-93DB-44B9-9E39-59EA3454B87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657522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ZontaInternational_PowerPoint_LO_T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87101"/>
          <a:stretch/>
        </p:blipFill>
        <p:spPr>
          <a:xfrm>
            <a:off x="0" y="0"/>
            <a:ext cx="157276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4943" y="4678855"/>
            <a:ext cx="11476036" cy="640036"/>
          </a:xfrm>
        </p:spPr>
        <p:txBody>
          <a:bodyPr>
            <a:normAutofit/>
          </a:bodyPr>
          <a:lstStyle>
            <a:lvl1pPr>
              <a:defRPr sz="3600" b="0" i="0">
                <a:solidFill>
                  <a:schemeClr val="tx1"/>
                </a:solidFill>
                <a:latin typeface="+mj-lt"/>
                <a:cs typeface="Lato Regular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94942" y="5340460"/>
            <a:ext cx="11476036" cy="536575"/>
          </a:xfrm>
        </p:spPr>
        <p:txBody>
          <a:bodyPr>
            <a:normAutofit/>
          </a:bodyPr>
          <a:lstStyle>
            <a:lvl1pPr marL="0" indent="0" algn="ctr">
              <a:buNone/>
              <a:defRPr sz="2400" b="0" i="0">
                <a:solidFill>
                  <a:srgbClr val="000000"/>
                </a:solidFill>
                <a:latin typeface="+mj-lt"/>
                <a:cs typeface="Lato Regular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3266695" y="676275"/>
            <a:ext cx="5742516" cy="3557588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district/club </a:t>
            </a:r>
            <a:br>
              <a:rPr lang="en-US"/>
            </a:br>
            <a:r>
              <a:rPr lang="en-US"/>
              <a:t>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3680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A4245FC-CDED-42D9-89C2-EEDC8DEF08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29985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A4245FC-CDED-42D9-89C2-EEDC8DEF08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ZontaInternational_PowerPoint_interiorLO_TE.jpg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667"/>
          <a:stretch/>
        </p:blipFill>
        <p:spPr>
          <a:xfrm>
            <a:off x="0" y="0"/>
            <a:ext cx="1016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0" y="274638"/>
            <a:ext cx="10566400" cy="1143000"/>
          </a:xfrm>
        </p:spPr>
        <p:txBody>
          <a:bodyPr>
            <a:normAutofit/>
          </a:bodyPr>
          <a:lstStyle>
            <a:lvl1pPr algn="l">
              <a:defRPr sz="4000" b="0" i="0">
                <a:solidFill>
                  <a:srgbClr val="000000"/>
                </a:solidFill>
                <a:latin typeface="+mj-lt"/>
                <a:cs typeface="Lato Regular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16000" y="1600201"/>
            <a:ext cx="10566400" cy="4525963"/>
          </a:xfrm>
        </p:spPr>
        <p:txBody>
          <a:bodyPr/>
          <a:lstStyle>
            <a:lvl1pPr>
              <a:defRPr b="0" i="0">
                <a:solidFill>
                  <a:srgbClr val="000000"/>
                </a:solidFill>
                <a:latin typeface="+mn-lt"/>
                <a:cs typeface="Lato Regular"/>
              </a:defRPr>
            </a:lvl1pPr>
            <a:lvl2pPr>
              <a:defRPr b="0" i="0">
                <a:solidFill>
                  <a:srgbClr val="000000"/>
                </a:solidFill>
                <a:latin typeface="+mn-lt"/>
                <a:cs typeface="Lato Regular"/>
              </a:defRPr>
            </a:lvl2pPr>
            <a:lvl3pPr>
              <a:defRPr b="0" i="0">
                <a:solidFill>
                  <a:srgbClr val="000000"/>
                </a:solidFill>
                <a:latin typeface="+mn-lt"/>
                <a:cs typeface="Lato Regular"/>
              </a:defRPr>
            </a:lvl3pPr>
            <a:lvl4pPr>
              <a:defRPr b="0" i="0">
                <a:solidFill>
                  <a:srgbClr val="000000"/>
                </a:solidFill>
                <a:latin typeface="+mn-lt"/>
                <a:cs typeface="Lato Regular"/>
              </a:defRPr>
            </a:lvl4pPr>
            <a:lvl5pPr>
              <a:defRPr b="0" i="0">
                <a:solidFill>
                  <a:srgbClr val="000000"/>
                </a:solidFill>
                <a:latin typeface="+mn-lt"/>
                <a:cs typeface="Lato Regular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47200" y="6492340"/>
            <a:ext cx="2844800" cy="365125"/>
          </a:xfrm>
        </p:spPr>
        <p:txBody>
          <a:bodyPr/>
          <a:lstStyle/>
          <a:p>
            <a:fld id="{C03FD958-75D2-C647-BE96-3B36ADE95E0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0363201" y="5622926"/>
            <a:ext cx="1488017" cy="10255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 dirty="0"/>
              <a:t>Insert district/club logo</a:t>
            </a:r>
          </a:p>
        </p:txBody>
      </p:sp>
    </p:spTree>
    <p:extLst>
      <p:ext uri="{BB962C8B-B14F-4D97-AF65-F5344CB8AC3E}">
        <p14:creationId xmlns:p14="http://schemas.microsoft.com/office/powerpoint/2010/main" val="11216224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BC8FD9-0F0F-839D-EC8E-B1E74C9D52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D7F690-0777-0771-3E3C-F999FA905D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5E612E-C3ED-4992-F69A-54758EE171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451DD-65DC-401D-BB89-9024692CE7A2}" type="datetimeFigureOut">
              <a:rPr lang="fi-FI" smtClean="0"/>
              <a:t>16.10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F14920-1EB3-3B9D-F3E4-A606FEE259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BC720F-7CC7-E564-0102-06F6D3201D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3BFD9-93DB-44B9-9E39-59EA3454B87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07511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BEC183-5090-3727-4E4B-0D8780C45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1C4737-FD78-315A-7C60-DEC2DDDC92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119DCF-DE19-1BB6-599A-B5E0E0E8C4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451DD-65DC-401D-BB89-9024692CE7A2}" type="datetimeFigureOut">
              <a:rPr lang="fi-FI" smtClean="0"/>
              <a:t>16.10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301DCF-53C8-1453-0496-7BAEE765E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50AE5C-E88B-5924-B47B-4013810AD7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3BFD9-93DB-44B9-9E39-59EA3454B87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183890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3A050C-220D-F206-3BB3-C9B66E249A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1DD0A7-7B12-C994-29CB-71E4AD3C27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7947134-06C9-72BE-395B-DE05A7512F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D5C020-B189-56BA-C737-1C660B63CA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451DD-65DC-401D-BB89-9024692CE7A2}" type="datetimeFigureOut">
              <a:rPr lang="fi-FI" smtClean="0"/>
              <a:t>16.10.2023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749982-B882-0263-DF84-2B2906ED16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4830CBB-D319-BB9F-5996-C3CC10E36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3BFD9-93DB-44B9-9E39-59EA3454B87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771987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C1830B-B07B-DA8B-FA22-4E89110EFA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07D887-6B3B-A071-8F2A-BB9F4A0075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F807BB-AA10-7BAF-06A0-B18B6762A8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8BAB0A-BA37-E048-3BA8-E17EBD2DF1D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B7D903C-EA30-054A-862A-C5C3DD8A317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5772A5-4246-7C0E-1517-6BFADE95A2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451DD-65DC-401D-BB89-9024692CE7A2}" type="datetimeFigureOut">
              <a:rPr lang="fi-FI" smtClean="0"/>
              <a:t>16.10.2023</a:t>
            </a:fld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469E51-3F81-716C-73EE-A8439E774E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2401BA9-76E9-7218-F82F-4718152F3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3BFD9-93DB-44B9-9E39-59EA3454B87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076921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F819BB-096D-10D2-6B36-FD92E4AE8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D83662-C18D-A87B-5B66-414CE4B994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451DD-65DC-401D-BB89-9024692CE7A2}" type="datetimeFigureOut">
              <a:rPr lang="fi-FI" smtClean="0"/>
              <a:t>16.10.2023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B67E66-DE9E-5983-43B7-85E778BA9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3442DA-2701-4972-D386-9A4202CFB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3BFD9-93DB-44B9-9E39-59EA3454B87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952449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9029570-76A2-0076-093F-7C6536EC80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451DD-65DC-401D-BB89-9024692CE7A2}" type="datetimeFigureOut">
              <a:rPr lang="fi-FI" smtClean="0"/>
              <a:t>16.10.2023</a:t>
            </a:fld>
            <a:endParaRPr lang="fi-FI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704111-8019-5CF7-2DBF-B0F7976D7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B6FBEF-34A7-4283-41AA-74163C54C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3BFD9-93DB-44B9-9E39-59EA3454B87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657464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EEB6A7-FC67-4DD5-1096-659E4EF2D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8515AA-73FE-F510-23CE-6954440631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16B2D9-F627-148B-46BC-CC8B349313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AA3D83-2128-DF75-BD35-507CC5CC11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451DD-65DC-401D-BB89-9024692CE7A2}" type="datetimeFigureOut">
              <a:rPr lang="fi-FI" smtClean="0"/>
              <a:t>16.10.2023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E8BC50-C3C3-2E6C-0F3B-893F3C657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ED2DA8-D652-9699-47B8-2C3AB572F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3BFD9-93DB-44B9-9E39-59EA3454B87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569437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28E643-1625-35DD-CAED-F279CE33FF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30E3577-D870-50F6-EFA7-98319E7605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214877-8E1C-CC80-1914-ACE1C96FE8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BD87A6-7699-0BE3-F1B8-D6E922DA50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451DD-65DC-401D-BB89-9024692CE7A2}" type="datetimeFigureOut">
              <a:rPr lang="fi-FI" smtClean="0"/>
              <a:t>16.10.2023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6891FB-05C7-487E-BCA3-18857FA797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0D9DC2-39B6-FD30-DCD4-02F61EA406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13BFD9-93DB-44B9-9E39-59EA3454B87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35330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1D0F14E-4C98-7723-80D1-320C2EB1AA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858E3A-9287-8FBB-B2A3-04CCECFBA2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77C4F7-B36E-87F5-C1CD-046CD15809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8451DD-65DC-401D-BB89-9024692CE7A2}" type="datetimeFigureOut">
              <a:rPr lang="fi-FI" smtClean="0"/>
              <a:t>16.10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59E258-F5ED-51EF-096E-285F1CCBBA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723D5C-1172-6FC4-E121-D78B4FE4EB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13BFD9-93DB-44B9-9E39-59EA3454B87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5801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27701-2BDE-48F6-BDC0-D3D04ECD6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2800" dirty="0"/>
              <a:t>Työpajan ” Mitä kerhot voivat tehdä digitaalisen häirinnän ja –väkivallan ennalta ehkäisemiseksi” tuotoksia 7.10.2023 Z-NOT ja </a:t>
            </a:r>
            <a:r>
              <a:rPr lang="fi-FI" sz="2800"/>
              <a:t>palvelutoimikunta  </a:t>
            </a:r>
            <a:endParaRPr lang="fi-FI" sz="2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2B3E16-7A3C-4A12-8BD1-1EE6F1B1E9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r>
              <a:rPr lang="fi-FI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Kerhot ovat ottaneet yhteyttä erilaisiin toimijoihin: koulut, järjestöt, 4-H, seurakunta, Plan, Mannerheimin Lastensuojeluliitto, kunta, Nuorisovaltuusto, </a:t>
            </a:r>
            <a:r>
              <a:rPr lang="fi-FI" sz="2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alkers</a:t>
            </a:r>
            <a:r>
              <a:rPr lang="fi-FI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Tyttöjen Talo, rikosuhripäivystys, sosiaalitoimi, paikalliset aktiiviset somettajat. </a:t>
            </a:r>
            <a:r>
              <a:rPr lang="fi-FI" sz="2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Zontat</a:t>
            </a:r>
            <a:r>
              <a:rPr lang="fi-FI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eivät ole asiantuntijoita eivätkä sisällön tuottajia, vaan aktiivisena tukena järjestämässä esim. tilaisuuksia, koulutusta tai someviestintää em. tahojen kanssa</a:t>
            </a:r>
          </a:p>
          <a:p>
            <a:r>
              <a:rPr lang="fi-FI" dirty="0">
                <a:latin typeface="Calibri" panose="020F0502020204030204" pitchFamily="34" charset="0"/>
                <a:ea typeface="Calibri" panose="020F0502020204030204" pitchFamily="34" charset="0"/>
              </a:rPr>
              <a:t> Tietoa ja asennemuutoksia lisääviä ennaltaehkäiseviä kampanjoita, jotka ovat säännöllisiä ja suunnitelmallisia esim. vuosittain kohdennettuna koulujen 8-9 luokkalaisille ja em. </a:t>
            </a:r>
            <a:r>
              <a:rPr lang="fi-FI">
                <a:latin typeface="Calibri" panose="020F0502020204030204" pitchFamily="34" charset="0"/>
                <a:ea typeface="Calibri" panose="020F0502020204030204" pitchFamily="34" charset="0"/>
              </a:rPr>
              <a:t>Yhteistyötahojen kanssa</a:t>
            </a:r>
            <a:endParaRPr lang="fi-FI" sz="2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fi-FI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ilaisuuksiin tarvitaan rekvisiittaa kuten esim. heijastimia, tarroja, </a:t>
            </a:r>
            <a:r>
              <a:rPr lang="fi-FI" sz="2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ikTok</a:t>
            </a:r>
            <a:r>
              <a:rPr lang="fi-FI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videoita. Nimenomaan omaa </a:t>
            </a:r>
            <a:r>
              <a:rPr lang="fi-FI" sz="2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Zonta</a:t>
            </a:r>
            <a:r>
              <a:rPr lang="fi-FI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rekvisiittaa tarvitaan. </a:t>
            </a:r>
            <a:r>
              <a:rPr lang="fi-FI" sz="2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ikTok</a:t>
            </a:r>
            <a:r>
              <a:rPr lang="fi-FI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–vaikuttajan löytäminen ja yhteistyö videoiden tuottamiseen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i-FI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r>
              <a:rPr kumimoji="0" lang="fi-FI" sz="2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</a:rPr>
              <a:t>Isovanhemmat ja vanhemmat tarvitsevat enemmän tietoa, joten esim. vanhempainiltoihin </a:t>
            </a:r>
            <a:r>
              <a:rPr kumimoji="0" lang="fi-FI" sz="2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</a:rPr>
              <a:t>zontien</a:t>
            </a:r>
            <a:r>
              <a:rPr kumimoji="0" lang="fi-FI" sz="2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</a:rPr>
              <a:t> hankkimia asiantuntijoita yhteistyöverkostoista kts. yllä</a:t>
            </a:r>
            <a:endParaRPr lang="fi-FI" sz="2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fi-FI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Koulussa oppilaille järjestetyssä tilaisuudessa täydessä varustuksessa ollut naispoliisi oli saanut hyvin oppilaiden huomion asialle</a:t>
            </a:r>
          </a:p>
          <a:p>
            <a:r>
              <a:rPr lang="fi-FI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lue 1:n kerhot järjestävät yhdessä tapahtuman, jossa esitetään väkivaltaa käsittelevä lyhyt dokumenttielokuva ja sen jälkeen on asiantuntijapaneeli keskustelemassa aiheesta</a:t>
            </a:r>
          </a:p>
          <a:p>
            <a:r>
              <a:rPr lang="fi-FI" dirty="0">
                <a:latin typeface="Calibri" panose="020F0502020204030204" pitchFamily="34" charset="0"/>
                <a:ea typeface="Calibri" panose="020F0502020204030204" pitchFamily="34" charset="0"/>
              </a:rPr>
              <a:t>Anne Pätilän webinaaritallenteen hyödyntäminen tilaisuuksissa</a:t>
            </a:r>
            <a:endParaRPr lang="fi-FI" sz="2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fi-FI" sz="2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Zontat</a:t>
            </a:r>
            <a:r>
              <a:rPr lang="fi-FI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voivat itse olla hyvänä esimerkkinä ja turvallisena aikuisena somessa</a:t>
            </a:r>
          </a:p>
          <a:p>
            <a:r>
              <a:rPr lang="fi-FI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ohdittavaksi: Häirinnän kohteena oleville tytöille rikosprosessiin joutuminen on raskasta, miten voisimme heitä auttaa?</a:t>
            </a:r>
          </a:p>
          <a:p>
            <a:pPr marL="514350" indent="-514350">
              <a:buFont typeface="+mj-lt"/>
              <a:buAutoNum type="arabicPeriod"/>
            </a:pPr>
            <a:endParaRPr lang="fi-FI" dirty="0"/>
          </a:p>
        </p:txBody>
      </p:sp>
      <p:pic>
        <p:nvPicPr>
          <p:cNvPr id="7" name="Picture Placeholder 7" descr="A close up of a sign&#10;&#10;Description automatically generated">
            <a:extLst>
              <a:ext uri="{FF2B5EF4-FFF2-40B4-BE49-F238E27FC236}">
                <a16:creationId xmlns:a16="http://schemas.microsoft.com/office/drawing/2014/main" id="{555EB697-2EDC-4C1B-9A4D-EB6CEF7BE83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6786" b="6786"/>
          <a:stretch>
            <a:fillRect/>
          </a:stretch>
        </p:blipFill>
        <p:spPr>
          <a:xfrm>
            <a:off x="10736120" y="5458686"/>
            <a:ext cx="1116013" cy="1025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9156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</TotalTime>
  <Words>218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1_Office Theme</vt:lpstr>
      <vt:lpstr>think-cell Slide</vt:lpstr>
      <vt:lpstr>Työpajan ” Mitä kerhot voivat tehdä digitaalisen häirinnän ja –väkivallan ennalta ehkäisemiseksi” tuotoksia 7.10.2023 Z-NOT ja palvelutoimikunta  </vt:lpstr>
    </vt:vector>
  </TitlesOfParts>
  <Company>OAM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yöpajan ” Mitä kerhot voivat tehdä digitaalisen häirinnän ja –väkivallan ennalta ehkäisemiseksi” tuotoksia 7.10.2023 Z-NOT ja palvelutoimikunta 1/2 </dc:title>
  <dc:creator>Taina Junttila</dc:creator>
  <cp:lastModifiedBy>Taina Junttila</cp:lastModifiedBy>
  <cp:revision>1</cp:revision>
  <dcterms:created xsi:type="dcterms:W3CDTF">2023-10-15T15:41:42Z</dcterms:created>
  <dcterms:modified xsi:type="dcterms:W3CDTF">2023-10-16T10:12:39Z</dcterms:modified>
</cp:coreProperties>
</file>